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17"/>
  </p:notesMasterIdLst>
  <p:handoutMasterIdLst>
    <p:handoutMasterId r:id="rId18"/>
  </p:handoutMasterIdLst>
  <p:sldIdLst>
    <p:sldId id="257" r:id="rId3"/>
    <p:sldId id="267" r:id="rId4"/>
    <p:sldId id="282" r:id="rId5"/>
    <p:sldId id="279" r:id="rId6"/>
    <p:sldId id="273" r:id="rId7"/>
    <p:sldId id="276" r:id="rId8"/>
    <p:sldId id="275" r:id="rId9"/>
    <p:sldId id="278" r:id="rId10"/>
    <p:sldId id="283" r:id="rId11"/>
    <p:sldId id="280" r:id="rId12"/>
    <p:sldId id="284" r:id="rId13"/>
    <p:sldId id="281" r:id="rId14"/>
    <p:sldId id="272" r:id="rId15"/>
    <p:sldId id="285" r:id="rId16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CC4"/>
    <a:srgbClr val="E6E6E6"/>
    <a:srgbClr val="C8C8C8"/>
    <a:srgbClr val="00ADEF"/>
    <a:srgbClr val="00A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86" autoAdjust="0"/>
    <p:restoredTop sz="94660"/>
  </p:normalViewPr>
  <p:slideViewPr>
    <p:cSldViewPr snapToGrid="0">
      <p:cViewPr>
        <p:scale>
          <a:sx n="60" d="100"/>
          <a:sy n="60" d="100"/>
        </p:scale>
        <p:origin x="-904" y="-2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-2680" y="-7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EA5CDF-3D35-4A26-8FE4-51759067723D}" type="datetimeFigureOut">
              <a:rPr lang="es-ES" smtClean="0"/>
              <a:t>19/05/2020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0F4AD4-8F31-4EA8-B35F-D5420965516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67082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94E271-D5EE-43F0-B78E-3C92A11F99C7}" type="datetimeFigureOut">
              <a:rPr lang="es-ES" smtClean="0"/>
              <a:t>19/05/2020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B34A05-4E28-43C2-8877-0E7D68E4901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507322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0425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76078" y="4715153"/>
            <a:ext cx="6045525" cy="4466988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BA88C8-8E95-4B5E-B649-186D14B9A9B9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7323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6238" y="744538"/>
            <a:ext cx="6045200" cy="3400425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76078" y="4715153"/>
            <a:ext cx="6045525" cy="4466988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BA88C8-8E95-4B5E-B649-186D14B9A9B9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1739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738822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84779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4763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mper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999" y="3848100"/>
            <a:ext cx="9396000" cy="1044302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einzeilig in CorpoA (Überschriften) 30 pt.</a:t>
            </a: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>Zweite Zeile möglich.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1" y="4932363"/>
            <a:ext cx="9396000" cy="755636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Zusatztext zur Präsentation 15 </a:t>
            </a:r>
            <a:r>
              <a:rPr lang="de-DE" noProof="0" dirty="0" smtClean="0"/>
              <a:t>pt. </a:t>
            </a: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>Referent, Abteilung, Ort, Datum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21"/>
          </p:nvPr>
        </p:nvSpPr>
        <p:spPr>
          <a:xfrm>
            <a:off x="78203" y="6502869"/>
            <a:ext cx="4114800" cy="365125"/>
          </a:xfrm>
        </p:spPr>
        <p:txBody>
          <a:bodyPr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s-AR" smtClean="0"/>
              <a:t>Desafío 1 | Grupo 2 | Mayo 2020</a:t>
            </a:r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22"/>
          </p:nvPr>
        </p:nvSpPr>
        <p:spPr>
          <a:xfrm>
            <a:off x="9357349" y="6494706"/>
            <a:ext cx="2743200" cy="365125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fld id="{7A897C41-B247-412F-A05E-999E22315BF4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4" name="3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1100" y="66523"/>
            <a:ext cx="779597" cy="583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05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1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2424">
          <p15:clr>
            <a:srgbClr val="A4A3A4"/>
          </p15:clr>
        </p15:guide>
        <p15:guide id="6" orient="horz" pos="3107">
          <p15:clr>
            <a:srgbClr val="A4A3A4"/>
          </p15:clr>
        </p15:guide>
        <p15:guide id="7" orient="horz" pos="4046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vate Vans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444444"/>
              </a:solidFill>
            </a:endParaRP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via menu bar: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dirty="0" smtClean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dirty="0" smtClean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(Right click: </a:t>
            </a:r>
            <a:r>
              <a:rPr lang="en-US" sz="999" i="1" dirty="0" smtClean="0">
                <a:solidFill>
                  <a:srgbClr val="444444"/>
                </a:solidFill>
              </a:rPr>
              <a:t>Apply to All Slides </a:t>
            </a:r>
            <a:r>
              <a:rPr lang="en-US" sz="999" dirty="0" smtClean="0">
                <a:solidFill>
                  <a:srgbClr val="444444"/>
                </a:solidFill>
              </a:rPr>
              <a:t>or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i="1" dirty="0" smtClean="0">
                <a:solidFill>
                  <a:srgbClr val="444444"/>
                </a:solidFill>
              </a:rPr>
              <a:t>Apply to Selected Slide</a:t>
            </a:r>
            <a:r>
              <a:rPr lang="en-US" sz="999" dirty="0" smtClean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86256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444444"/>
              </a:solidFill>
            </a:endParaRP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via menu bar: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dirty="0" smtClean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dirty="0" smtClean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(Right click: </a:t>
            </a:r>
            <a:r>
              <a:rPr lang="en-US" sz="999" i="1" dirty="0" smtClean="0">
                <a:solidFill>
                  <a:srgbClr val="444444"/>
                </a:solidFill>
              </a:rPr>
              <a:t>Apply to All Slides </a:t>
            </a:r>
            <a:r>
              <a:rPr lang="en-US" sz="999" dirty="0" smtClean="0">
                <a:solidFill>
                  <a:srgbClr val="444444"/>
                </a:solidFill>
              </a:rPr>
              <a:t>or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i="1" dirty="0" smtClean="0">
                <a:solidFill>
                  <a:srgbClr val="444444"/>
                </a:solidFill>
              </a:rPr>
              <a:t>Apply to Selected Slide</a:t>
            </a:r>
            <a:r>
              <a:rPr lang="en-US" sz="999" dirty="0" smtClean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40790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444444"/>
              </a:solidFill>
            </a:endParaRP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via menu bar: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dirty="0" smtClean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dirty="0" smtClean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444444"/>
                </a:solidFill>
              </a:rPr>
              <a:t>(Right click: </a:t>
            </a:r>
            <a:r>
              <a:rPr lang="en-US" sz="999" i="1" dirty="0" smtClean="0">
                <a:solidFill>
                  <a:srgbClr val="444444"/>
                </a:solidFill>
              </a:rPr>
              <a:t>Apply to All Slides </a:t>
            </a:r>
            <a:r>
              <a:rPr lang="en-US" sz="999" dirty="0" smtClean="0">
                <a:solidFill>
                  <a:srgbClr val="444444"/>
                </a:solidFill>
              </a:rPr>
              <a:t>or </a:t>
            </a:r>
            <a:br>
              <a:rPr lang="en-US" sz="999" dirty="0" smtClean="0">
                <a:solidFill>
                  <a:srgbClr val="444444"/>
                </a:solidFill>
              </a:rPr>
            </a:br>
            <a:r>
              <a:rPr lang="en-US" sz="999" i="1" dirty="0" smtClean="0">
                <a:solidFill>
                  <a:srgbClr val="444444"/>
                </a:solidFill>
              </a:rPr>
              <a:t>Apply to Selected Slide</a:t>
            </a:r>
            <a:r>
              <a:rPr lang="en-US" sz="999" dirty="0" smtClean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08815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  <a:ln>
            <a:solidFill>
              <a:schemeClr val="tx2"/>
            </a:solidFill>
          </a:ln>
        </p:spPr>
        <p:txBody>
          <a:bodyPr lIns="72000" tIns="72000" rIns="72000" bIns="72000"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649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3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Nº›</a:t>
            </a:fld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922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  <a:ln>
            <a:noFill/>
          </a:ln>
        </p:spPr>
        <p:txBody>
          <a:bodyPr lIns="0" tIns="0" rIns="0" bIns="0"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8108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6972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  <a:ln>
            <a:noFill/>
          </a:ln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6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17735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453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408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 smtClean="0">
                  <a:solidFill>
                    <a:srgbClr val="444444"/>
                  </a:solidFill>
                </a:rPr>
              </a:br>
              <a:r>
                <a:rPr lang="en-US" sz="999" dirty="0" smtClean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 smtClean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 smtClean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 smtClean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 smtClean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 smtClean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95976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22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  <a:ln>
            <a:noFill/>
          </a:ln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  <a:ln>
            <a:noFill/>
          </a:ln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585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378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  <a:ln>
            <a:noFill/>
          </a:ln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19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  <a:ln>
            <a:noFill/>
          </a:ln>
        </p:spPr>
        <p:txBody>
          <a:bodyPr lIns="0" tIns="0" rIns="0" bIns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361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973779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998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26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88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68192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718792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  <a:ln>
            <a:noFill/>
          </a:ln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13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2" y="368300"/>
            <a:ext cx="5664163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664164" cy="3035699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8960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0777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951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095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86615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97" y="368301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93" y="151205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96" y="1511305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1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2" y="1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7" y="1"/>
            <a:ext cx="1872001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5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3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Nº›</a:t>
            </a:fld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14" name="Picture 4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7644" y="12701"/>
            <a:ext cx="1493056" cy="35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37339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7248128" y="6552000"/>
            <a:ext cx="1020597" cy="3060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s-AR" smtClean="0">
                <a:solidFill>
                  <a:prstClr val="black"/>
                </a:solidFill>
              </a:rPr>
              <a:t>Desafío 1 | Grupo 2 | Mayo 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0" y="144000"/>
            <a:ext cx="7008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58895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56166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58225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26377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0111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77520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97C41-B247-412F-A05E-999E22315BF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1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  <a:ln w="19050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s-AR" smtClean="0">
                <a:solidFill>
                  <a:prstClr val="white"/>
                </a:solidFill>
              </a:rPr>
              <a:t>Desafío 1 | Grupo 2 | Mayo 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5776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1" r:id="rId2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manuperotti/dh_ds_grupo2_desafio1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400272" y="4225690"/>
            <a:ext cx="9396000" cy="1044302"/>
          </a:xfrm>
        </p:spPr>
        <p:txBody>
          <a:bodyPr>
            <a:normAutofit fontScale="90000"/>
          </a:bodyPr>
          <a:lstStyle/>
          <a:p>
            <a:r>
              <a:rPr 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io 1 – Análisis Exploratorio Dataset Properati</a:t>
            </a:r>
            <a:br>
              <a:rPr 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2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396001" y="5227637"/>
            <a:ext cx="9235679" cy="1021397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 smtClean="0">
              <a:solidFill>
                <a:schemeClr val="tx1"/>
              </a:solidFill>
              <a:latin typeface="CorpoSDem" pitchFamily="2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smtClean="0">
                <a:solidFill>
                  <a:schemeClr val="tx1"/>
                </a:solidFill>
                <a:latin typeface="CorpoSDem" pitchFamily="2" charset="0"/>
              </a:rPr>
              <a:t>Mayo.2020</a:t>
            </a:r>
            <a:endParaRPr lang="de-DE" dirty="0">
              <a:solidFill>
                <a:schemeClr val="tx1"/>
              </a:solidFill>
              <a:latin typeface="CorpoSDem" pitchFamily="2" charset="0"/>
            </a:endParaRPr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1</a:t>
            </a:fld>
            <a:endParaRPr lang="es-ES"/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05" y="-314325"/>
            <a:ext cx="12184288" cy="45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8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950" y="678265"/>
            <a:ext cx="3553153" cy="2521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2</a:t>
            </a:r>
            <a:r>
              <a:rPr lang="es-AR" sz="4000" b="1" dirty="0" smtClean="0">
                <a:latin typeface="CorpoS" pitchFamily="2" charset="0"/>
              </a:rPr>
              <a:t>. Limpieza </a:t>
            </a:r>
            <a:r>
              <a:rPr lang="es-AR" sz="4000" b="1" dirty="0" err="1" smtClean="0">
                <a:latin typeface="CorpoS" pitchFamily="2" charset="0"/>
              </a:rPr>
              <a:t>Dataset</a:t>
            </a:r>
            <a:r>
              <a:rPr lang="es-AR" sz="4000" b="1" dirty="0" smtClean="0">
                <a:latin typeface="CorpoS" pitchFamily="2" charset="0"/>
              </a:rPr>
              <a:t> - Resultados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10</a:t>
            </a:fld>
            <a:endParaRPr lang="es-ES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261" y="2920767"/>
            <a:ext cx="4332969" cy="3937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dirty="0" smtClean="0"/>
              <a:t>Desafío 1 | Grupo 2 | Mayo 2020</a:t>
            </a:r>
            <a:endParaRPr lang="es-ES" dirty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825" y="901592"/>
            <a:ext cx="5487112" cy="543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472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3. Conclusiones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11</a:t>
            </a:fld>
            <a:endParaRPr lang="es-ES"/>
          </a:p>
        </p:txBody>
      </p:sp>
      <p:sp>
        <p:nvSpPr>
          <p:cNvPr id="3" name="2 CuadroTexto"/>
          <p:cNvSpPr txBox="1"/>
          <p:nvPr/>
        </p:nvSpPr>
        <p:spPr>
          <a:xfrm>
            <a:off x="901700" y="1524000"/>
            <a:ext cx="10718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AR" dirty="0" smtClean="0">
                <a:solidFill>
                  <a:schemeClr val="bg1"/>
                </a:solidFill>
              </a:rPr>
              <a:t>Alto impacto de la locación geográfica sobre el precio.</a:t>
            </a:r>
          </a:p>
          <a:p>
            <a:pPr marL="285750" indent="-285750">
              <a:buFont typeface="Arial" pitchFamily="34" charset="0"/>
              <a:buChar char="•"/>
            </a:pPr>
            <a:endParaRPr lang="es-AR" dirty="0" smtClean="0">
              <a:solidFill>
                <a:schemeClr val="bg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AR" dirty="0" smtClean="0">
                <a:solidFill>
                  <a:schemeClr val="bg1"/>
                </a:solidFill>
              </a:rPr>
              <a:t>Fuerte dispersión de los datos.</a:t>
            </a:r>
          </a:p>
          <a:p>
            <a:pPr marL="285750" indent="-285750">
              <a:buFont typeface="Arial" pitchFamily="34" charset="0"/>
              <a:buChar char="•"/>
            </a:pPr>
            <a:endParaRPr lang="es-AR" dirty="0" smtClean="0">
              <a:solidFill>
                <a:schemeClr val="bg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AR" dirty="0" smtClean="0">
                <a:solidFill>
                  <a:schemeClr val="bg1"/>
                </a:solidFill>
              </a:rPr>
              <a:t>Baja correlación de las variables con respecto al precio</a:t>
            </a:r>
            <a:endParaRPr lang="es-A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978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4. Próximos pasos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12</a:t>
            </a:fld>
            <a:endParaRPr lang="es-ES"/>
          </a:p>
        </p:txBody>
      </p:sp>
      <p:sp>
        <p:nvSpPr>
          <p:cNvPr id="6" name="5 CuadroTexto"/>
          <p:cNvSpPr txBox="1"/>
          <p:nvPr/>
        </p:nvSpPr>
        <p:spPr>
          <a:xfrm>
            <a:off x="381000" y="927100"/>
            <a:ext cx="11163300" cy="32624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AR" sz="2400" dirty="0" smtClean="0">
                <a:solidFill>
                  <a:schemeClr val="bg1"/>
                </a:solidFill>
                <a:latin typeface="CorpoS"/>
              </a:rPr>
              <a:t>Terminar revisión </a:t>
            </a:r>
            <a:r>
              <a:rPr lang="es-AR" sz="2400" dirty="0" err="1" smtClean="0">
                <a:solidFill>
                  <a:schemeClr val="bg1"/>
                </a:solidFill>
                <a:latin typeface="CorpoS"/>
              </a:rPr>
              <a:t>geonames_id</a:t>
            </a:r>
            <a:r>
              <a:rPr lang="es-AR" sz="2400" dirty="0" smtClean="0">
                <a:solidFill>
                  <a:schemeClr val="bg1"/>
                </a:solidFill>
                <a:latin typeface="CorpoS"/>
              </a:rPr>
              <a:t> y cruzar con el campo </a:t>
            </a:r>
            <a:r>
              <a:rPr lang="es-AR" sz="2400" dirty="0" err="1" smtClean="0">
                <a:solidFill>
                  <a:schemeClr val="bg1"/>
                </a:solidFill>
                <a:latin typeface="CorpoS"/>
              </a:rPr>
              <a:t>place_id</a:t>
            </a:r>
            <a:r>
              <a:rPr lang="es-AR" sz="2400" dirty="0" smtClean="0">
                <a:solidFill>
                  <a:schemeClr val="bg1"/>
                </a:solidFill>
                <a:latin typeface="CorpoS"/>
              </a:rPr>
              <a:t> para reducir faltantes.</a:t>
            </a:r>
          </a:p>
          <a:p>
            <a:pPr marL="457200" indent="-457200">
              <a:buFont typeface="+mj-lt"/>
              <a:buAutoNum type="arabicPeriod"/>
            </a:pPr>
            <a:endParaRPr lang="es-AR" sz="2400" dirty="0" smtClean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+mj-lt"/>
              <a:buAutoNum type="arabicPeriod"/>
            </a:pPr>
            <a:r>
              <a:rPr lang="es-AR" sz="2400" dirty="0" smtClean="0">
                <a:solidFill>
                  <a:schemeClr val="bg1"/>
                </a:solidFill>
                <a:latin typeface="CorpoS"/>
              </a:rPr>
              <a:t>Incluir la </a:t>
            </a:r>
            <a:r>
              <a:rPr lang="es-AR" sz="2400" dirty="0" err="1" smtClean="0">
                <a:solidFill>
                  <a:schemeClr val="bg1"/>
                </a:solidFill>
                <a:latin typeface="CorpoS"/>
              </a:rPr>
              <a:t>geolocalización</a:t>
            </a:r>
            <a:r>
              <a:rPr lang="es-AR" sz="2400" dirty="0" smtClean="0">
                <a:solidFill>
                  <a:schemeClr val="bg1"/>
                </a:solidFill>
                <a:latin typeface="CorpoS"/>
              </a:rPr>
              <a:t> en la correlación.</a:t>
            </a:r>
          </a:p>
          <a:p>
            <a:pPr marL="457200" indent="-457200">
              <a:buFont typeface="+mj-lt"/>
              <a:buAutoNum type="arabicPeriod"/>
            </a:pPr>
            <a:endParaRPr lang="es-AR" sz="2400" dirty="0" smtClean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+mj-lt"/>
              <a:buAutoNum type="arabicPeriod"/>
            </a:pPr>
            <a:r>
              <a:rPr lang="es-AR" sz="2400" dirty="0" smtClean="0">
                <a:solidFill>
                  <a:schemeClr val="bg1"/>
                </a:solidFill>
                <a:latin typeface="CorpoS"/>
              </a:rPr>
              <a:t>Analizar veracidad de la información (búsqueda de inconsistencias)</a:t>
            </a:r>
          </a:p>
          <a:p>
            <a:pPr marL="457200" indent="-457200">
              <a:buFont typeface="+mj-lt"/>
              <a:buAutoNum type="arabicPeriod"/>
            </a:pPr>
            <a:endParaRPr lang="es-AR" sz="2400" dirty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+mj-lt"/>
              <a:buAutoNum type="arabicPeriod"/>
            </a:pPr>
            <a:endParaRPr lang="es-AR" sz="2200" dirty="0" smtClean="0">
              <a:solidFill>
                <a:schemeClr val="bg1"/>
              </a:solidFill>
              <a:latin typeface="CorpoS"/>
            </a:endParaRPr>
          </a:p>
          <a:p>
            <a:endParaRPr lang="es-AR" sz="2000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+mj-lt"/>
              <a:buAutoNum type="arabicPeriod"/>
            </a:pPr>
            <a:endParaRPr lang="es-AR" sz="2000" dirty="0" smtClean="0">
              <a:solidFill>
                <a:schemeClr val="bg1"/>
              </a:solidFill>
              <a:latin typeface="CorpoS"/>
            </a:endParaRPr>
          </a:p>
        </p:txBody>
      </p:sp>
    </p:spTree>
    <p:extLst>
      <p:ext uri="{BB962C8B-B14F-4D97-AF65-F5344CB8AC3E}">
        <p14:creationId xmlns:p14="http://schemas.microsoft.com/office/powerpoint/2010/main" val="135724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213121" y="4871402"/>
            <a:ext cx="9235679" cy="1021397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3200" b="1" dirty="0" smtClean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acias!</a:t>
            </a:r>
            <a:endParaRPr lang="de-DE" sz="32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13</a:t>
            </a:fld>
            <a:endParaRPr lang="es-ES"/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05" y="-314325"/>
            <a:ext cx="12184288" cy="45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19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err="1" smtClean="0">
                <a:latin typeface="CorpoS" pitchFamily="2" charset="0"/>
              </a:rPr>
              <a:t>Backup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14</a:t>
            </a:fld>
            <a:endParaRPr lang="es-E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71" y="1233388"/>
            <a:ext cx="8102654" cy="392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6 CuadroTexto"/>
          <p:cNvSpPr txBox="1"/>
          <p:nvPr/>
        </p:nvSpPr>
        <p:spPr>
          <a:xfrm>
            <a:off x="1339681" y="978192"/>
            <a:ext cx="1587784" cy="27699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p</a:t>
            </a:r>
            <a:r>
              <a:rPr lang="es-AR" sz="1200" b="1" dirty="0" smtClean="0">
                <a:solidFill>
                  <a:schemeClr val="bg1"/>
                </a:solidFill>
              </a:rPr>
              <a:t>rice_usd_per_m2</a:t>
            </a:r>
            <a:endParaRPr lang="es-A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22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8148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Índice Contenidos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2</a:t>
            </a:fld>
            <a:endParaRPr lang="es-ES"/>
          </a:p>
        </p:txBody>
      </p:sp>
      <p:sp>
        <p:nvSpPr>
          <p:cNvPr id="7" name="Subtítulo 2"/>
          <p:cNvSpPr>
            <a:spLocks noGrp="1"/>
          </p:cNvSpPr>
          <p:nvPr>
            <p:ph type="subTitle" idx="1"/>
          </p:nvPr>
        </p:nvSpPr>
        <p:spPr>
          <a:xfrm>
            <a:off x="893841" y="914400"/>
            <a:ext cx="8016479" cy="5428642"/>
          </a:xfrm>
        </p:spPr>
        <p:txBody>
          <a:bodyPr>
            <a:normAutofit fontScale="92500" lnSpcReduction="10000"/>
          </a:bodyPr>
          <a:lstStyle/>
          <a:p>
            <a:r>
              <a:rPr lang="es-AR" sz="2600" b="1" dirty="0" smtClean="0">
                <a:latin typeface="CorpoS" pitchFamily="2" charset="0"/>
              </a:rPr>
              <a:t>1- Introducción</a:t>
            </a:r>
          </a:p>
          <a:p>
            <a:endParaRPr lang="es-AR" sz="2600" b="1" dirty="0">
              <a:latin typeface="CorpoS" pitchFamily="2" charset="0"/>
            </a:endParaRPr>
          </a:p>
          <a:p>
            <a:endParaRPr lang="es-AR" sz="2600" b="1" dirty="0">
              <a:latin typeface="CorpoS" pitchFamily="2" charset="0"/>
            </a:endParaRPr>
          </a:p>
          <a:p>
            <a:endParaRPr lang="es-AR" sz="2600" b="1" dirty="0" smtClean="0">
              <a:latin typeface="CorpoS" pitchFamily="2" charset="0"/>
            </a:endParaRPr>
          </a:p>
          <a:p>
            <a:r>
              <a:rPr lang="es-AR" sz="2600" b="1" dirty="0" smtClean="0">
                <a:latin typeface="CorpoS" pitchFamily="2" charset="0"/>
              </a:rPr>
              <a:t>2- </a:t>
            </a:r>
            <a:r>
              <a:rPr lang="es-AR" sz="2600" b="1" dirty="0" smtClean="0">
                <a:latin typeface="CorpoS" pitchFamily="2" charset="0"/>
              </a:rPr>
              <a:t>Análisis </a:t>
            </a:r>
            <a:r>
              <a:rPr lang="es-AR" sz="2600" b="1" dirty="0" err="1" smtClean="0">
                <a:latin typeface="CorpoS" pitchFamily="2" charset="0"/>
              </a:rPr>
              <a:t>Dataset</a:t>
            </a:r>
            <a:endParaRPr lang="es-AR" sz="2600" b="1" dirty="0" smtClean="0">
              <a:latin typeface="CorpoS" pitchFamily="2" charset="0"/>
            </a:endParaRPr>
          </a:p>
          <a:p>
            <a:endParaRPr lang="es-AR" sz="2600" b="1" dirty="0" smtClean="0">
              <a:latin typeface="CorpoS" pitchFamily="2" charset="0"/>
            </a:endParaRPr>
          </a:p>
          <a:p>
            <a:r>
              <a:rPr lang="es-AR" sz="2600" b="1" dirty="0" smtClean="0">
                <a:latin typeface="CorpoS" pitchFamily="2" charset="0"/>
              </a:rPr>
              <a:t>3- Conclusiones</a:t>
            </a:r>
          </a:p>
          <a:p>
            <a:endParaRPr lang="es-AR" sz="2600" b="1" dirty="0">
              <a:latin typeface="CorpoS" pitchFamily="2" charset="0"/>
            </a:endParaRPr>
          </a:p>
          <a:p>
            <a:r>
              <a:rPr lang="es-AR" sz="2600" b="1" dirty="0" smtClean="0">
                <a:latin typeface="CorpoS" pitchFamily="2" charset="0"/>
              </a:rPr>
              <a:t>4- Próximos Pasos</a:t>
            </a:r>
          </a:p>
          <a:p>
            <a:endParaRPr lang="es-AR" sz="2000" b="1" dirty="0" smtClean="0">
              <a:latin typeface="CorpoS" pitchFamily="2" charset="0"/>
            </a:endParaRPr>
          </a:p>
          <a:p>
            <a:endParaRPr lang="es-AR" sz="2000" b="1" dirty="0" smtClean="0">
              <a:latin typeface="CorpoS" pitchFamily="2" charset="0"/>
            </a:endParaRPr>
          </a:p>
          <a:p>
            <a:r>
              <a:rPr lang="es-AR" sz="2000" b="1" dirty="0" smtClean="0">
                <a:latin typeface="CorpoS" pitchFamily="2" charset="0"/>
              </a:rPr>
              <a:t>Fuente: </a:t>
            </a:r>
            <a:r>
              <a:rPr lang="es-AR" sz="1800" dirty="0">
                <a:hlinkClick r:id="rId2"/>
              </a:rPr>
              <a:t>https://</a:t>
            </a:r>
            <a:r>
              <a:rPr lang="es-AR" sz="1800" dirty="0" smtClean="0">
                <a:hlinkClick r:id="rId2"/>
              </a:rPr>
              <a:t>github.com/manuperotti/dh_ds_grupo2_desafio1</a:t>
            </a:r>
            <a:endParaRPr lang="es-AR" sz="2000" b="1" dirty="0">
              <a:latin typeface="CorpoS" pitchFamily="2" charset="0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2222500" y="1182720"/>
            <a:ext cx="598424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 defTabSz="2160000">
              <a:spcBef>
                <a:spcPts val="600"/>
              </a:spcBef>
              <a:buAutoNum type="arabicPeriod"/>
            </a:pP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Objetivo</a:t>
            </a:r>
            <a:r>
              <a:rPr lang="en-US" dirty="0" smtClean="0">
                <a:solidFill>
                  <a:schemeClr val="bg1"/>
                </a:solidFill>
                <a:latin typeface="CorpoS" pitchFamily="2" charset="0"/>
              </a:rPr>
              <a:t> </a:t>
            </a: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desafio</a:t>
            </a:r>
            <a:endParaRPr lang="en-US" dirty="0" smtClean="0">
              <a:solidFill>
                <a:schemeClr val="bg1"/>
              </a:solidFill>
              <a:latin typeface="CorpoS" pitchFamily="2" charset="0"/>
            </a:endParaRPr>
          </a:p>
          <a:p>
            <a:pPr marL="457200" indent="-457200" algn="just" defTabSz="2160000">
              <a:spcBef>
                <a:spcPts val="600"/>
              </a:spcBef>
              <a:buAutoNum type="arabicPeriod"/>
            </a:pP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Premisas</a:t>
            </a:r>
            <a:r>
              <a:rPr lang="en-US" dirty="0" smtClean="0">
                <a:solidFill>
                  <a:schemeClr val="bg1"/>
                </a:solidFill>
                <a:latin typeface="CorpoS" pitchFamily="2" charset="0"/>
              </a:rPr>
              <a:t> de </a:t>
            </a: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trabajo</a:t>
            </a:r>
            <a:endParaRPr lang="en-US" dirty="0">
              <a:solidFill>
                <a:schemeClr val="bg1"/>
              </a:solidFill>
              <a:latin typeface="CorpoS" pitchFamily="2" charset="0"/>
            </a:endParaRPr>
          </a:p>
          <a:p>
            <a:pPr marL="457200" indent="-457200" defTabSz="2160000">
              <a:spcBef>
                <a:spcPts val="600"/>
              </a:spcBef>
              <a:buAutoNum type="arabicPeriod"/>
            </a:pP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Información</a:t>
            </a:r>
            <a:r>
              <a:rPr lang="en-US" dirty="0" smtClean="0">
                <a:solidFill>
                  <a:schemeClr val="bg1"/>
                </a:solidFill>
                <a:latin typeface="CorpoS" pitchFamily="2" charset="0"/>
              </a:rPr>
              <a:t> Dataset “</a:t>
            </a: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Properati</a:t>
            </a:r>
            <a:r>
              <a:rPr lang="en-US" dirty="0" smtClean="0">
                <a:solidFill>
                  <a:schemeClr val="bg1"/>
                </a:solidFill>
                <a:latin typeface="CorpoS" pitchFamily="2" charset="0"/>
              </a:rPr>
              <a:t>”</a:t>
            </a:r>
          </a:p>
          <a:p>
            <a:pPr marL="457200" indent="-457200" defTabSz="2160000">
              <a:spcBef>
                <a:spcPts val="600"/>
              </a:spcBef>
              <a:buAutoNum type="arabicPeriod"/>
            </a:pP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Análisis</a:t>
            </a:r>
            <a:r>
              <a:rPr lang="en-US" dirty="0" smtClean="0">
                <a:solidFill>
                  <a:schemeClr val="bg1"/>
                </a:solidFill>
                <a:latin typeface="CorpoS" pitchFamily="2" charset="0"/>
              </a:rPr>
              <a:t> de </a:t>
            </a:r>
            <a:r>
              <a:rPr lang="en-US" dirty="0" err="1" smtClean="0">
                <a:solidFill>
                  <a:schemeClr val="bg1"/>
                </a:solidFill>
                <a:latin typeface="CorpoS" pitchFamily="2" charset="0"/>
              </a:rPr>
              <a:t>las</a:t>
            </a:r>
            <a:r>
              <a:rPr lang="en-US" dirty="0" smtClean="0">
                <a:solidFill>
                  <a:schemeClr val="bg1"/>
                </a:solidFill>
                <a:latin typeface="CorpoS" pitchFamily="2" charset="0"/>
              </a:rPr>
              <a:t> Variables</a:t>
            </a:r>
            <a:r>
              <a:rPr lang="es-AR" dirty="0" smtClean="0">
                <a:solidFill>
                  <a:schemeClr val="bg1"/>
                </a:solidFill>
                <a:latin typeface="CorpoS" pitchFamily="2" charset="0"/>
              </a:rPr>
              <a:t> </a:t>
            </a:r>
            <a:endParaRPr lang="es-AR" dirty="0">
              <a:solidFill>
                <a:schemeClr val="bg1"/>
              </a:solidFill>
              <a:latin typeface="CorpoS" pitchFamily="2" charset="0"/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9544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1.1 </a:t>
            </a:r>
            <a:r>
              <a:rPr lang="es-AR" sz="4000" b="1" dirty="0" smtClean="0">
                <a:latin typeface="CorpoS" pitchFamily="2" charset="0"/>
              </a:rPr>
              <a:t>Objetivo del </a:t>
            </a:r>
            <a:r>
              <a:rPr lang="es-AR" sz="4000" b="1" dirty="0" smtClean="0">
                <a:latin typeface="CorpoS" pitchFamily="2" charset="0"/>
              </a:rPr>
              <a:t>desafío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3</a:t>
            </a:fld>
            <a:endParaRPr lang="es-ES"/>
          </a:p>
        </p:txBody>
      </p:sp>
      <p:sp>
        <p:nvSpPr>
          <p:cNvPr id="6" name="Subtítulo 2"/>
          <p:cNvSpPr>
            <a:spLocks noGrp="1"/>
          </p:cNvSpPr>
          <p:nvPr>
            <p:ph type="subTitle" idx="1"/>
          </p:nvPr>
        </p:nvSpPr>
        <p:spPr>
          <a:xfrm>
            <a:off x="893841" y="1224642"/>
            <a:ext cx="10078959" cy="4464958"/>
          </a:xfrm>
        </p:spPr>
        <p:txBody>
          <a:bodyPr>
            <a:normAutofit/>
          </a:bodyPr>
          <a:lstStyle/>
          <a:p>
            <a:pPr algn="just"/>
            <a:r>
              <a:rPr lang="es-AR" sz="2400" b="1" dirty="0" smtClean="0">
                <a:latin typeface="CorpoS" pitchFamily="2" charset="0"/>
              </a:rPr>
              <a:t>OBJETIVO</a:t>
            </a:r>
            <a:r>
              <a:rPr lang="es-AR" sz="2400" dirty="0" smtClean="0">
                <a:latin typeface="CorpoS" pitchFamily="2" charset="0"/>
              </a:rPr>
              <a:t>:</a:t>
            </a:r>
            <a:r>
              <a:rPr lang="es-AR" sz="2400" dirty="0" smtClean="0">
                <a:latin typeface="CorpoS" pitchFamily="2" charset="0"/>
              </a:rPr>
              <a:t> </a:t>
            </a:r>
            <a:r>
              <a:rPr lang="es-AR" sz="2400" dirty="0" smtClean="0">
                <a:latin typeface="CorpoS" pitchFamily="2" charset="0"/>
              </a:rPr>
              <a:t>armar un tasador </a:t>
            </a:r>
            <a:r>
              <a:rPr lang="es-AR" sz="2400" dirty="0" smtClean="0">
                <a:latin typeface="CorpoS" pitchFamily="2" charset="0"/>
              </a:rPr>
              <a:t>automático.</a:t>
            </a:r>
          </a:p>
          <a:p>
            <a:pPr algn="just"/>
            <a:endParaRPr lang="es-AR" sz="1000" dirty="0" smtClean="0">
              <a:latin typeface="CorpoS" pitchFamily="2" charset="0"/>
            </a:endParaRPr>
          </a:p>
          <a:p>
            <a:pPr algn="just"/>
            <a:r>
              <a:rPr lang="es-AR" sz="2400" b="1" dirty="0">
                <a:latin typeface="CorpoS" pitchFamily="2" charset="0"/>
              </a:rPr>
              <a:t>	</a:t>
            </a:r>
            <a:r>
              <a:rPr lang="es-AR" sz="2400" b="1" dirty="0" smtClean="0">
                <a:latin typeface="CorpoS" pitchFamily="2" charset="0"/>
              </a:rPr>
              <a:t>EL DATASET</a:t>
            </a:r>
            <a:r>
              <a:rPr lang="es-AR" sz="2400" dirty="0" smtClean="0">
                <a:latin typeface="CorpoS" pitchFamily="2" charset="0"/>
              </a:rPr>
              <a:t>, se encuentra </a:t>
            </a:r>
            <a:r>
              <a:rPr lang="es-AR" sz="2400" dirty="0" smtClean="0">
                <a:latin typeface="CorpoS" pitchFamily="2" charset="0"/>
              </a:rPr>
              <a:t>en condiciones de ser usado como fuente de </a:t>
            </a:r>
            <a:r>
              <a:rPr lang="es-AR" sz="2400" dirty="0" smtClean="0">
                <a:latin typeface="CorpoS" pitchFamily="2" charset="0"/>
              </a:rPr>
              <a:t>información </a:t>
            </a:r>
            <a:r>
              <a:rPr lang="es-AR" sz="2400" dirty="0" smtClean="0">
                <a:latin typeface="CorpoS" pitchFamily="2" charset="0"/>
              </a:rPr>
              <a:t>para </a:t>
            </a:r>
            <a:r>
              <a:rPr lang="es-AR" sz="2400" dirty="0" smtClean="0">
                <a:latin typeface="CorpoS" pitchFamily="2" charset="0"/>
              </a:rPr>
              <a:t>	desarrollar </a:t>
            </a:r>
            <a:r>
              <a:rPr lang="es-AR" sz="2400" dirty="0" smtClean="0">
                <a:latin typeface="CorpoS" pitchFamily="2" charset="0"/>
              </a:rPr>
              <a:t>un</a:t>
            </a:r>
            <a:r>
              <a:rPr lang="es-AR" sz="2400" dirty="0" smtClean="0">
                <a:latin typeface="CorpoS" pitchFamily="2" charset="0"/>
              </a:rPr>
              <a:t> </a:t>
            </a:r>
            <a:r>
              <a:rPr lang="es-AR" sz="2400" dirty="0" smtClean="0">
                <a:latin typeface="CorpoS" pitchFamily="2" charset="0"/>
              </a:rPr>
              <a:t>modelo?</a:t>
            </a:r>
          </a:p>
          <a:p>
            <a:pPr algn="just"/>
            <a:endParaRPr lang="es-AR" sz="1000" dirty="0" smtClean="0">
              <a:latin typeface="CorpoS" pitchFamily="2" charset="0"/>
            </a:endParaRPr>
          </a:p>
          <a:p>
            <a:pPr algn="just"/>
            <a:r>
              <a:rPr lang="es-AR" sz="2400" dirty="0" smtClean="0">
                <a:latin typeface="CorpoS" pitchFamily="2" charset="0"/>
              </a:rPr>
              <a:t>		Analizamos los registros suministrados y buscamos las correlaciones entre las 			variables y como afectan al precio</a:t>
            </a:r>
            <a:endParaRPr lang="es-AR" sz="2400" dirty="0" smtClean="0"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936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1.2 Premisas Trabajo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4</a:t>
            </a:fld>
            <a:endParaRPr lang="es-ES"/>
          </a:p>
        </p:txBody>
      </p:sp>
      <p:sp>
        <p:nvSpPr>
          <p:cNvPr id="6" name="Subtítulo 2"/>
          <p:cNvSpPr>
            <a:spLocks noGrp="1"/>
          </p:cNvSpPr>
          <p:nvPr>
            <p:ph type="subTitle" idx="1"/>
          </p:nvPr>
        </p:nvSpPr>
        <p:spPr>
          <a:xfrm>
            <a:off x="893841" y="1224642"/>
            <a:ext cx="10078959" cy="3499758"/>
          </a:xfrm>
        </p:spPr>
        <p:txBody>
          <a:bodyPr>
            <a:normAutofit lnSpcReduction="10000"/>
          </a:bodyPr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es-AR" sz="2400" dirty="0" smtClean="0">
                <a:latin typeface="CorpoS" pitchFamily="2" charset="0"/>
              </a:rPr>
              <a:t>Consideramos precios en USD para evitar distorsiones por inflación o devaluación.</a:t>
            </a:r>
            <a:endParaRPr lang="es-AR" sz="2400" dirty="0" smtClean="0">
              <a:latin typeface="CorpoS" pitchFamily="2" charset="0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s-AR" sz="2400" dirty="0" smtClean="0">
              <a:latin typeface="CorpoS" pitchFamily="2" charset="0"/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es-AR" sz="2400" dirty="0" smtClean="0">
                <a:latin typeface="CorpoS" pitchFamily="2" charset="0"/>
              </a:rPr>
              <a:t>La localización geográfica de las propiedades tienen impacto en el precio por m2.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s-AR" sz="2400" dirty="0" smtClean="0">
              <a:latin typeface="CorpoS" pitchFamily="2" charset="0"/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es-AR" sz="2400" dirty="0" smtClean="0">
                <a:latin typeface="CorpoS" pitchFamily="2" charset="0"/>
              </a:rPr>
              <a:t>Luego del análisis y limpieza de datos, aquellas propiedades que se encuentren sin valorizar, no serán tenidas en cuenta para la generación del tasador.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s-AR" sz="2400" dirty="0">
              <a:latin typeface="CorpoS" pitchFamily="2" charset="0"/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es-AR" sz="2400" dirty="0" smtClean="0">
                <a:latin typeface="CorpoS" pitchFamily="2" charset="0"/>
              </a:rPr>
              <a:t>El tipo de propiedad afecta al precio</a:t>
            </a:r>
          </a:p>
          <a:p>
            <a:pPr marL="342900" indent="-342900" algn="just">
              <a:buFont typeface="Arial" pitchFamily="34" charset="0"/>
              <a:buChar char="•"/>
            </a:pPr>
            <a:endParaRPr lang="es-AR" sz="2400" dirty="0"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238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8" y="-3884"/>
            <a:ext cx="10551401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1.3 </a:t>
            </a:r>
            <a:r>
              <a:rPr lang="es-AR" sz="4000" b="1" dirty="0" smtClean="0">
                <a:latin typeface="CorpoS" pitchFamily="2" charset="0"/>
              </a:rPr>
              <a:t>Información </a:t>
            </a:r>
            <a:r>
              <a:rPr lang="es-AR" sz="4000" b="1" dirty="0" err="1" smtClean="0">
                <a:latin typeface="CorpoS" pitchFamily="2" charset="0"/>
              </a:rPr>
              <a:t>Dataset</a:t>
            </a:r>
            <a:r>
              <a:rPr lang="es-AR" sz="4000" b="1" dirty="0" smtClean="0">
                <a:latin typeface="CorpoS" pitchFamily="2" charset="0"/>
              </a:rPr>
              <a:t> «</a:t>
            </a:r>
            <a:r>
              <a:rPr lang="es-AR" sz="4000" b="1" dirty="0" err="1" smtClean="0">
                <a:latin typeface="CorpoS" pitchFamily="2" charset="0"/>
              </a:rPr>
              <a:t>Properati</a:t>
            </a:r>
            <a:r>
              <a:rPr lang="es-AR" sz="4000" b="1" dirty="0" smtClean="0">
                <a:latin typeface="CorpoS" pitchFamily="2" charset="0"/>
              </a:rPr>
              <a:t>» - visualización variables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5</a:t>
            </a:fld>
            <a:endParaRPr lang="es-E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75" y="847725"/>
            <a:ext cx="8658225" cy="5479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8971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1.3 Análisis Variables – Tipo propiedad y localización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6</a:t>
            </a:fld>
            <a:endParaRPr lang="es-ES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9563" y="1299041"/>
            <a:ext cx="5729720" cy="3532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704" y="1299041"/>
            <a:ext cx="3487296" cy="3596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780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8" y="-3884"/>
            <a:ext cx="9967201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1.3 Análisis Variables – relación variables con precio USD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7</a:t>
            </a:fld>
            <a:endParaRPr lang="es-E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312" y="1408235"/>
            <a:ext cx="5482991" cy="488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021" y="1153043"/>
            <a:ext cx="3419475" cy="461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5 CuadroTexto"/>
          <p:cNvSpPr txBox="1"/>
          <p:nvPr/>
        </p:nvSpPr>
        <p:spPr>
          <a:xfrm>
            <a:off x="1742287" y="5794821"/>
            <a:ext cx="111600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000" b="1" dirty="0" smtClean="0">
                <a:solidFill>
                  <a:schemeClr val="bg1"/>
                </a:solidFill>
              </a:rPr>
              <a:t>*Top 15 regiones</a:t>
            </a:r>
            <a:endParaRPr lang="es-AR" sz="1000" b="1" dirty="0">
              <a:solidFill>
                <a:schemeClr val="bg1"/>
              </a:solidFill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3335061" y="1488560"/>
            <a:ext cx="2055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100" dirty="0" smtClean="0">
                <a:solidFill>
                  <a:schemeClr val="bg1"/>
                </a:solidFill>
              </a:rPr>
              <a:t>*</a:t>
            </a:r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828799" y="1201485"/>
            <a:ext cx="1587784" cy="27699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AR" sz="1200" b="1" dirty="0">
                <a:solidFill>
                  <a:schemeClr val="bg1"/>
                </a:solidFill>
              </a:rPr>
              <a:t>p</a:t>
            </a:r>
            <a:r>
              <a:rPr lang="es-AR" sz="1200" b="1" dirty="0" smtClean="0">
                <a:solidFill>
                  <a:schemeClr val="bg1"/>
                </a:solidFill>
              </a:rPr>
              <a:t>rice_usd_per_m2</a:t>
            </a:r>
            <a:endParaRPr lang="es-A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39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2</a:t>
            </a:r>
            <a:r>
              <a:rPr lang="es-AR" sz="4000" dirty="0" smtClean="0">
                <a:latin typeface="CorpoS" pitchFamily="2" charset="0"/>
              </a:rPr>
              <a:t>.</a:t>
            </a:r>
            <a:r>
              <a:rPr lang="es-AR" sz="4000" b="1" dirty="0" smtClean="0">
                <a:latin typeface="CorpoS" pitchFamily="2" charset="0"/>
              </a:rPr>
              <a:t> Limpieza </a:t>
            </a:r>
            <a:r>
              <a:rPr lang="es-AR" sz="4000" b="1" dirty="0" err="1" smtClean="0">
                <a:latin typeface="CorpoS" pitchFamily="2" charset="0"/>
              </a:rPr>
              <a:t>Dataset</a:t>
            </a:r>
            <a:r>
              <a:rPr lang="es-AR" sz="4000" b="1" dirty="0" smtClean="0">
                <a:latin typeface="CorpoS" pitchFamily="2" charset="0"/>
              </a:rPr>
              <a:t> – variables trabajadas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8</a:t>
            </a:fld>
            <a:endParaRPr lang="es-ES"/>
          </a:p>
        </p:txBody>
      </p:sp>
      <p:sp>
        <p:nvSpPr>
          <p:cNvPr id="3" name="2 CuadroTexto"/>
          <p:cNvSpPr txBox="1"/>
          <p:nvPr/>
        </p:nvSpPr>
        <p:spPr>
          <a:xfrm>
            <a:off x="431800" y="812800"/>
            <a:ext cx="11163300" cy="55092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60000" indent="-457200">
              <a:buFont typeface="Arial" pitchFamily="34" charset="0"/>
              <a:buChar char="•"/>
            </a:pP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Valores duplicados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Detección y borrado de duplicados usando la función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duplicated</a:t>
            </a:r>
            <a:endParaRPr lang="es-AR" sz="2000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endParaRPr lang="es-AR" sz="1400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err="1">
                <a:solidFill>
                  <a:schemeClr val="bg1"/>
                </a:solidFill>
                <a:latin typeface="CorpoS"/>
              </a:rPr>
              <a:t>Geolocalización</a:t>
            </a:r>
            <a:r>
              <a:rPr lang="es-AR" sz="2000" b="1" dirty="0">
                <a:solidFill>
                  <a:schemeClr val="bg1"/>
                </a:solidFill>
                <a:latin typeface="CorpoS"/>
              </a:rPr>
              <a:t>: </a:t>
            </a:r>
            <a:r>
              <a:rPr lang="es-AR" sz="2000" dirty="0">
                <a:solidFill>
                  <a:schemeClr val="bg1"/>
                </a:solidFill>
                <a:latin typeface="CorpoS"/>
              </a:rPr>
              <a:t>Compuesto por ocho variables, comprobamos que la información entre los campos </a:t>
            </a:r>
            <a:r>
              <a:rPr lang="es-AR" sz="2000" dirty="0" err="1">
                <a:solidFill>
                  <a:schemeClr val="bg1"/>
                </a:solidFill>
                <a:latin typeface="CorpoS"/>
              </a:rPr>
              <a:t>lat-lon</a:t>
            </a:r>
            <a:r>
              <a:rPr lang="es-AR" sz="2000" dirty="0">
                <a:solidFill>
                  <a:schemeClr val="bg1"/>
                </a:solidFill>
                <a:latin typeface="CorpoS"/>
              </a:rPr>
              <a:t>, </a:t>
            </a:r>
            <a:r>
              <a:rPr lang="es-AR" sz="2000" dirty="0" err="1">
                <a:solidFill>
                  <a:schemeClr val="bg1"/>
                </a:solidFill>
                <a:latin typeface="CorpoS"/>
              </a:rPr>
              <a:t>lat</a:t>
            </a:r>
            <a:r>
              <a:rPr lang="es-AR" sz="2000" dirty="0">
                <a:solidFill>
                  <a:schemeClr val="bg1"/>
                </a:solidFill>
                <a:latin typeface="CorpoS"/>
              </a:rPr>
              <a:t> y </a:t>
            </a:r>
            <a:r>
              <a:rPr lang="es-AR" sz="2000" dirty="0" err="1">
                <a:solidFill>
                  <a:schemeClr val="bg1"/>
                </a:solidFill>
                <a:latin typeface="CorpoS"/>
              </a:rPr>
              <a:t>lon</a:t>
            </a:r>
            <a:r>
              <a:rPr lang="es-AR" sz="2000" dirty="0">
                <a:solidFill>
                  <a:schemeClr val="bg1"/>
                </a:solidFill>
                <a:latin typeface="CorpoS"/>
              </a:rPr>
              <a:t> fuera la misma. Luego iniciamos 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varios análisis </a:t>
            </a:r>
            <a:r>
              <a:rPr lang="es-AR" sz="2000" dirty="0">
                <a:solidFill>
                  <a:schemeClr val="bg1"/>
                </a:solidFill>
                <a:latin typeface="CorpoS"/>
              </a:rPr>
              <a:t>para reducir la gran cantidad de datos nulos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.</a:t>
            </a:r>
          </a:p>
          <a:p>
            <a:pPr marL="360000" indent="-457200">
              <a:buFont typeface="Arial" pitchFamily="34" charset="0"/>
              <a:buChar char="•"/>
            </a:pPr>
            <a:endParaRPr lang="es-AR" sz="1400" dirty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Precio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Usamos una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regex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para buscar los valores nulos en las columnas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title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y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descrition</a:t>
            </a:r>
            <a:endParaRPr lang="es-AR" sz="2000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endParaRPr lang="es-AR" sz="1400" b="1" dirty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err="1" smtClean="0">
                <a:solidFill>
                  <a:schemeClr val="bg1"/>
                </a:solidFill>
                <a:latin typeface="CorpoS"/>
              </a:rPr>
              <a:t>Rooms</a:t>
            </a: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Mediante una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regex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se buscaron los datos nulos en la columna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description</a:t>
            </a:r>
            <a:endParaRPr lang="es-AR" sz="2000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endParaRPr lang="es-AR" sz="1400" dirty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err="1" smtClean="0">
                <a:solidFill>
                  <a:schemeClr val="bg1"/>
                </a:solidFill>
                <a:latin typeface="CorpoS"/>
              </a:rPr>
              <a:t>Floor</a:t>
            </a: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Para reducir la gran cantidad de datos nulos, usamos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regex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para extraer valores del campo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description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. Utilizaremos esta variable para analizar precios de departamentos.</a:t>
            </a:r>
            <a:endParaRPr lang="es-AR" sz="2000" b="1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endParaRPr lang="es-AR" sz="1400" b="1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Superficie (m2)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Mediante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regex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, se buscan los datos faltantes en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description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.</a:t>
            </a:r>
          </a:p>
          <a:p>
            <a:pPr marL="360000" indent="-457200">
              <a:buFont typeface="Arial" pitchFamily="34" charset="0"/>
              <a:buChar char="•"/>
            </a:pPr>
            <a:endParaRPr lang="es-AR" sz="1400" b="1" dirty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Precio x m2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Se crean dos nuevas variables,  price_usd_per_m2  y price_per_m2 . Esto permite manejar más </a:t>
            </a:r>
            <a:r>
              <a:rPr lang="es-AR" sz="2000" dirty="0" err="1" smtClean="0">
                <a:solidFill>
                  <a:schemeClr val="bg1"/>
                </a:solidFill>
                <a:latin typeface="CorpoS"/>
              </a:rPr>
              <a:t>facilmente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los precios por m2 totales y m2 cubiertos.</a:t>
            </a:r>
            <a:endParaRPr lang="es-AR" sz="2000" b="1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endParaRPr lang="es-AR" sz="1400" b="1" dirty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Pileta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Agregamos la variable para ser trabajada más adelante, analizando su impacto en los precios</a:t>
            </a: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 </a:t>
            </a:r>
            <a:endParaRPr lang="en-US" sz="2000" b="1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endParaRPr lang="es-AR" sz="1400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Arial" pitchFamily="34" charset="0"/>
              <a:buChar char="•"/>
            </a:pPr>
            <a:r>
              <a:rPr lang="es-AR" sz="2000" b="1" dirty="0" smtClean="0">
                <a:solidFill>
                  <a:schemeClr val="bg1"/>
                </a:solidFill>
                <a:latin typeface="CorpoS"/>
              </a:rPr>
              <a:t>Cochera:</a:t>
            </a:r>
            <a:r>
              <a:rPr lang="es-AR" sz="2000" dirty="0" smtClean="0">
                <a:solidFill>
                  <a:schemeClr val="bg1"/>
                </a:solidFill>
                <a:latin typeface="CorpoS"/>
              </a:rPr>
              <a:t> Al igual que la anterior, se agrega para un posterior estudio en el calculo del precio.</a:t>
            </a:r>
            <a:endParaRPr lang="es-AR" sz="2000" b="1" dirty="0" smtClean="0">
              <a:solidFill>
                <a:schemeClr val="bg1"/>
              </a:solidFill>
              <a:latin typeface="CorpoS"/>
            </a:endParaRPr>
          </a:p>
        </p:txBody>
      </p:sp>
    </p:spTree>
    <p:extLst>
      <p:ext uri="{BB962C8B-B14F-4D97-AF65-F5344CB8AC3E}">
        <p14:creationId xmlns:p14="http://schemas.microsoft.com/office/powerpoint/2010/main" val="2066224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94399" y="-3884"/>
            <a:ext cx="9396000" cy="1044302"/>
          </a:xfrm>
        </p:spPr>
        <p:txBody>
          <a:bodyPr>
            <a:normAutofit/>
          </a:bodyPr>
          <a:lstStyle/>
          <a:p>
            <a:r>
              <a:rPr lang="es-AR" sz="4000" b="1" dirty="0" smtClean="0">
                <a:latin typeface="CorpoS" pitchFamily="2" charset="0"/>
              </a:rPr>
              <a:t>2</a:t>
            </a:r>
            <a:r>
              <a:rPr lang="es-AR" sz="4000" b="1" dirty="0" smtClean="0">
                <a:latin typeface="CorpoS" pitchFamily="2" charset="0"/>
              </a:rPr>
              <a:t>. Limpieza </a:t>
            </a:r>
            <a:r>
              <a:rPr lang="es-AR" sz="4000" b="1" dirty="0" err="1" smtClean="0">
                <a:latin typeface="CorpoS" pitchFamily="2" charset="0"/>
              </a:rPr>
              <a:t>Dataset</a:t>
            </a:r>
            <a:r>
              <a:rPr lang="es-AR" sz="4000" b="1" dirty="0" smtClean="0">
                <a:latin typeface="CorpoS" pitchFamily="2" charset="0"/>
              </a:rPr>
              <a:t> – variables no trabajadas</a:t>
            </a:r>
            <a:endParaRPr lang="es-ES" sz="4000" b="1" dirty="0">
              <a:latin typeface="CorpoS" pitchFamily="2" charset="0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s-AR" smtClean="0"/>
              <a:t>Desafío 1 | Grupo 2 | Mayo 2020</a:t>
            </a:r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A897C41-B247-412F-A05E-999E22315BF4}" type="slidenum">
              <a:rPr lang="es-ES" smtClean="0"/>
              <a:t>9</a:t>
            </a:fld>
            <a:endParaRPr lang="es-ES"/>
          </a:p>
        </p:txBody>
      </p:sp>
      <p:sp>
        <p:nvSpPr>
          <p:cNvPr id="3" name="2 CuadroTexto"/>
          <p:cNvSpPr txBox="1"/>
          <p:nvPr/>
        </p:nvSpPr>
        <p:spPr>
          <a:xfrm>
            <a:off x="381000" y="927100"/>
            <a:ext cx="11163300" cy="35086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es-AR" sz="2200" b="1" dirty="0" smtClean="0">
                <a:solidFill>
                  <a:schemeClr val="bg1"/>
                </a:solidFill>
                <a:latin typeface="CorpoS"/>
              </a:rPr>
              <a:t>Uname:0:</a:t>
            </a:r>
            <a:r>
              <a:rPr lang="es-AR" sz="2200" dirty="0" smtClean="0">
                <a:solidFill>
                  <a:schemeClr val="bg1"/>
                </a:solidFill>
                <a:latin typeface="CorpoS"/>
              </a:rPr>
              <a:t> No tuvo relevancia en esta instancia</a:t>
            </a:r>
          </a:p>
          <a:p>
            <a:pPr marL="457200" indent="-457200">
              <a:buFont typeface="Arial" pitchFamily="34" charset="0"/>
              <a:buChar char="•"/>
            </a:pPr>
            <a:endParaRPr lang="es-AR" sz="2200" b="1" dirty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es-AR" sz="2200" b="1" dirty="0" err="1" smtClean="0">
                <a:solidFill>
                  <a:schemeClr val="bg1"/>
                </a:solidFill>
                <a:latin typeface="CorpoS"/>
              </a:rPr>
              <a:t>Operation</a:t>
            </a:r>
            <a:r>
              <a:rPr lang="es-AR" sz="2200" b="1" dirty="0" smtClean="0">
                <a:solidFill>
                  <a:schemeClr val="bg1"/>
                </a:solidFill>
                <a:latin typeface="CorpoS"/>
              </a:rPr>
              <a:t>:</a:t>
            </a:r>
            <a:r>
              <a:rPr lang="es-AR" sz="2200" dirty="0" smtClean="0">
                <a:solidFill>
                  <a:schemeClr val="bg1"/>
                </a:solidFill>
                <a:latin typeface="CorpoS"/>
              </a:rPr>
              <a:t> dado que el 100% de los casos corresponden a ventas, no la tuvimos en cuenta para esta instancia</a:t>
            </a:r>
            <a:endParaRPr lang="es-AR" sz="2200" b="1" dirty="0" smtClean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Arial" pitchFamily="34" charset="0"/>
              <a:buChar char="•"/>
            </a:pPr>
            <a:endParaRPr lang="es-AR" sz="2200" b="1" dirty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es-AR" sz="2200" b="1" dirty="0" smtClean="0">
                <a:solidFill>
                  <a:schemeClr val="bg1"/>
                </a:solidFill>
                <a:latin typeface="CorpoS"/>
              </a:rPr>
              <a:t>Expenses:</a:t>
            </a:r>
            <a:r>
              <a:rPr lang="es-AR" sz="2200" dirty="0" smtClean="0">
                <a:solidFill>
                  <a:schemeClr val="bg1"/>
                </a:solidFill>
                <a:latin typeface="CorpoS"/>
              </a:rPr>
              <a:t> Dado el </a:t>
            </a:r>
            <a:r>
              <a:rPr lang="es-AR" sz="2200" dirty="0" err="1" smtClean="0">
                <a:solidFill>
                  <a:schemeClr val="bg1"/>
                </a:solidFill>
                <a:latin typeface="CorpoS"/>
              </a:rPr>
              <a:t>álto</a:t>
            </a:r>
            <a:r>
              <a:rPr lang="es-AR" sz="2200" dirty="0" smtClean="0">
                <a:solidFill>
                  <a:schemeClr val="bg1"/>
                </a:solidFill>
                <a:latin typeface="CorpoS"/>
              </a:rPr>
              <a:t> índice de faltantes, y la poca correlación con el precio, se decide no considerarla.</a:t>
            </a:r>
          </a:p>
          <a:p>
            <a:pPr marL="457200" indent="-457200">
              <a:buFont typeface="Arial" pitchFamily="34" charset="0"/>
              <a:buChar char="•"/>
            </a:pPr>
            <a:endParaRPr lang="es-AR" sz="1400" dirty="0" smtClean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es-AR" sz="2200" b="1" dirty="0" err="1" smtClean="0">
                <a:solidFill>
                  <a:schemeClr val="bg1"/>
                </a:solidFill>
                <a:latin typeface="CorpoS"/>
              </a:rPr>
              <a:t>Properati_url</a:t>
            </a:r>
            <a:r>
              <a:rPr lang="es-AR" sz="2200" b="1" dirty="0" smtClean="0">
                <a:solidFill>
                  <a:schemeClr val="bg1"/>
                </a:solidFill>
                <a:latin typeface="CorpoS"/>
              </a:rPr>
              <a:t>:</a:t>
            </a:r>
            <a:r>
              <a:rPr lang="es-AR" sz="2200" dirty="0" smtClean="0">
                <a:solidFill>
                  <a:schemeClr val="bg1"/>
                </a:solidFill>
                <a:latin typeface="CorpoS"/>
              </a:rPr>
              <a:t> No se analiza en esta instancia del trabajo.</a:t>
            </a:r>
          </a:p>
          <a:p>
            <a:pPr marL="457200" indent="-457200">
              <a:buFont typeface="Arial" pitchFamily="34" charset="0"/>
              <a:buChar char="•"/>
            </a:pPr>
            <a:endParaRPr lang="es-AR" sz="1400" dirty="0" smtClean="0">
              <a:solidFill>
                <a:schemeClr val="bg1"/>
              </a:solidFill>
              <a:latin typeface="CorpoS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es-AR" sz="2200" b="1" dirty="0" err="1" smtClean="0">
                <a:solidFill>
                  <a:schemeClr val="bg1"/>
                </a:solidFill>
                <a:latin typeface="CorpoS"/>
              </a:rPr>
              <a:t>Image_thumbnail</a:t>
            </a:r>
            <a:r>
              <a:rPr lang="es-AR" sz="2200" b="1" dirty="0" smtClean="0">
                <a:solidFill>
                  <a:schemeClr val="bg1"/>
                </a:solidFill>
                <a:latin typeface="CorpoS"/>
              </a:rPr>
              <a:t>:</a:t>
            </a:r>
            <a:r>
              <a:rPr lang="es-AR" sz="2200" dirty="0" smtClean="0">
                <a:solidFill>
                  <a:schemeClr val="bg1"/>
                </a:solidFill>
                <a:latin typeface="CorpoS"/>
              </a:rPr>
              <a:t> No se analiza ene esta instancia del trabajo.</a:t>
            </a:r>
          </a:p>
          <a:p>
            <a:endParaRPr lang="es-AR" sz="2000" dirty="0" smtClean="0">
              <a:solidFill>
                <a:schemeClr val="bg1"/>
              </a:solidFill>
              <a:latin typeface="CorpoS"/>
            </a:endParaRPr>
          </a:p>
          <a:p>
            <a:pPr marL="360000" indent="-457200">
              <a:buFont typeface="+mj-lt"/>
              <a:buAutoNum type="arabicPeriod"/>
            </a:pPr>
            <a:endParaRPr lang="es-AR" sz="2000" dirty="0" smtClean="0">
              <a:solidFill>
                <a:schemeClr val="bg1"/>
              </a:solidFill>
              <a:latin typeface="CorpoS"/>
            </a:endParaRPr>
          </a:p>
        </p:txBody>
      </p:sp>
    </p:spTree>
    <p:extLst>
      <p:ext uri="{BB962C8B-B14F-4D97-AF65-F5344CB8AC3E}">
        <p14:creationId xmlns:p14="http://schemas.microsoft.com/office/powerpoint/2010/main" val="3070270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="" xmlns:thm15="http://schemas.microsoft.com/office/thememl/2012/main" name="Presentation title 30 pt on one line.potx" id="{0466A367-B444-453B-9506-662C9CDD5ECD}" vid="{A4823754-F458-46B0-B101-07B52B48CE6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70</TotalTime>
  <Words>621</Words>
  <Application>Microsoft Office PowerPoint</Application>
  <PresentationFormat>Personalizado</PresentationFormat>
  <Paragraphs>116</Paragraphs>
  <Slides>14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17" baseType="lpstr">
      <vt:lpstr>Tema de Office</vt:lpstr>
      <vt:lpstr>7_Mercedes-Benz black</vt:lpstr>
      <vt:lpstr>think-cell Slide</vt:lpstr>
      <vt:lpstr>Desafio 1 – Análisis Exploratorio Dataset Properati Grupo 2</vt:lpstr>
      <vt:lpstr>Índice Contenidos</vt:lpstr>
      <vt:lpstr>1.1 Objetivo del desafío</vt:lpstr>
      <vt:lpstr>1.2 Premisas Trabajo</vt:lpstr>
      <vt:lpstr>1.3 Información Dataset «Properati» - visualización variables</vt:lpstr>
      <vt:lpstr>1.3 Análisis Variables – Tipo propiedad y localización</vt:lpstr>
      <vt:lpstr>1.3 Análisis Variables – relación variables con precio USD</vt:lpstr>
      <vt:lpstr>2. Limpieza Dataset – variables trabajadas</vt:lpstr>
      <vt:lpstr>2. Limpieza Dataset – variables no trabajadas</vt:lpstr>
      <vt:lpstr>2. Limpieza Dataset - Resultados</vt:lpstr>
      <vt:lpstr>3. Conclusiones</vt:lpstr>
      <vt:lpstr>4. Próximos pasos</vt:lpstr>
      <vt:lpstr>Presentación de PowerPoint</vt:lpstr>
      <vt:lpstr>Backup</vt:lpstr>
    </vt:vector>
  </TitlesOfParts>
  <Company>Daimler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UCKS &amp; BUSES – MBCB Argentina</dc:title>
  <dc:creator>Canzani, Valeria (155-Extern)</dc:creator>
  <cp:lastModifiedBy>administra</cp:lastModifiedBy>
  <cp:revision>114</cp:revision>
  <dcterms:created xsi:type="dcterms:W3CDTF">2020-04-28T18:13:38Z</dcterms:created>
  <dcterms:modified xsi:type="dcterms:W3CDTF">2020-05-21T00:53:31Z</dcterms:modified>
</cp:coreProperties>
</file>